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4" r:id="rId1"/>
    <p:sldMasterId id="2147483855" r:id="rId2"/>
  </p:sldMasterIdLst>
  <p:notesMasterIdLst>
    <p:notesMasterId r:id="rId49"/>
  </p:notesMasterIdLst>
  <p:handoutMasterIdLst>
    <p:handoutMasterId r:id="rId50"/>
  </p:handoutMasterIdLst>
  <p:sldIdLst>
    <p:sldId id="943" r:id="rId3"/>
    <p:sldId id="1044" r:id="rId4"/>
    <p:sldId id="1008" r:id="rId5"/>
    <p:sldId id="1037" r:id="rId6"/>
    <p:sldId id="1017" r:id="rId7"/>
    <p:sldId id="1025" r:id="rId8"/>
    <p:sldId id="1040" r:id="rId9"/>
    <p:sldId id="1045" r:id="rId10"/>
    <p:sldId id="1046" r:id="rId11"/>
    <p:sldId id="1047" r:id="rId12"/>
    <p:sldId id="1038" r:id="rId13"/>
    <p:sldId id="1072" r:id="rId14"/>
    <p:sldId id="1073" r:id="rId15"/>
    <p:sldId id="1075" r:id="rId16"/>
    <p:sldId id="1048" r:id="rId17"/>
    <p:sldId id="1027" r:id="rId18"/>
    <p:sldId id="1028" r:id="rId19"/>
    <p:sldId id="1041" r:id="rId20"/>
    <p:sldId id="1076" r:id="rId21"/>
    <p:sldId id="1077" r:id="rId22"/>
    <p:sldId id="1078" r:id="rId23"/>
    <p:sldId id="1030" r:id="rId24"/>
    <p:sldId id="1031" r:id="rId25"/>
    <p:sldId id="1032" r:id="rId26"/>
    <p:sldId id="1042" r:id="rId27"/>
    <p:sldId id="1039" r:id="rId28"/>
    <p:sldId id="1035" r:id="rId29"/>
    <p:sldId id="1054" r:id="rId30"/>
    <p:sldId id="1036" r:id="rId31"/>
    <p:sldId id="1060" r:id="rId32"/>
    <p:sldId id="1061" r:id="rId33"/>
    <p:sldId id="1043" r:id="rId34"/>
    <p:sldId id="1062" r:id="rId35"/>
    <p:sldId id="1063" r:id="rId36"/>
    <p:sldId id="1064" r:id="rId37"/>
    <p:sldId id="1065" r:id="rId38"/>
    <p:sldId id="1066" r:id="rId39"/>
    <p:sldId id="1067" r:id="rId40"/>
    <p:sldId id="1068" r:id="rId41"/>
    <p:sldId id="1069" r:id="rId42"/>
    <p:sldId id="1070" r:id="rId43"/>
    <p:sldId id="1071" r:id="rId44"/>
    <p:sldId id="1007" r:id="rId45"/>
    <p:sldId id="1055" r:id="rId46"/>
    <p:sldId id="1079" r:id="rId47"/>
    <p:sldId id="941" r:id="rId48"/>
  </p:sldIdLst>
  <p:sldSz cx="12192000" cy="6858000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47" userDrawn="1">
          <p15:clr>
            <a:srgbClr val="A4A3A4"/>
          </p15:clr>
        </p15:guide>
        <p15:guide id="2" orient="horz" pos="3918" userDrawn="1">
          <p15:clr>
            <a:srgbClr val="A4A3A4"/>
          </p15:clr>
        </p15:guide>
        <p15:guide id="3" orient="horz" pos="1159" userDrawn="1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pos="3840" userDrawn="1">
          <p15:clr>
            <a:srgbClr val="A4A3A4"/>
          </p15:clr>
        </p15:guide>
        <p15:guide id="6" pos="211" userDrawn="1">
          <p15:clr>
            <a:srgbClr val="A4A3A4"/>
          </p15:clr>
        </p15:guide>
        <p15:guide id="7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6C"/>
    <a:srgbClr val="00CC99"/>
    <a:srgbClr val="009900"/>
    <a:srgbClr val="BCEABC"/>
    <a:srgbClr val="A6E4A6"/>
    <a:srgbClr val="86DA86"/>
    <a:srgbClr val="EBF9EB"/>
    <a:srgbClr val="84D684"/>
    <a:srgbClr val="339966"/>
    <a:srgbClr val="00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239" autoAdjust="0"/>
    <p:restoredTop sz="94127" autoAdjust="0"/>
  </p:normalViewPr>
  <p:slideViewPr>
    <p:cSldViewPr snapToObjects="1">
      <p:cViewPr varScale="1">
        <p:scale>
          <a:sx n="70" d="100"/>
          <a:sy n="70" d="100"/>
        </p:scale>
        <p:origin x="156" y="44"/>
      </p:cViewPr>
      <p:guideLst>
        <p:guide orient="horz" pos="4247"/>
        <p:guide orient="horz" pos="3918"/>
        <p:guide orient="horz" pos="1159"/>
        <p:guide orient="horz" pos="4156"/>
        <p:guide pos="3840"/>
        <p:guide pos="211"/>
        <p:guide pos="74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4" d="100"/>
          <a:sy n="64" d="100"/>
        </p:scale>
        <p:origin x="-2760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14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94C88CBE-E755-4996-AEBD-89E8BD814D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9975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248" y="4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063" y="4715482"/>
            <a:ext cx="5437550" cy="446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l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248" y="9429326"/>
            <a:ext cx="2945955" cy="49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41" tIns="48321" rIns="96641" bIns="48321" numCol="1" anchor="b" anchorCtr="0" compatLnSpc="1">
            <a:prstTxWarp prst="textNoShape">
              <a:avLst/>
            </a:prstTxWarp>
          </a:bodyPr>
          <a:lstStyle>
            <a:lvl1pPr algn="r" defTabSz="966594">
              <a:lnSpc>
                <a:spcPct val="100000"/>
              </a:lnSpc>
              <a:spcBef>
                <a:spcPct val="0"/>
              </a:spcBef>
              <a:buClrTx/>
              <a:defRPr sz="1300"/>
            </a:lvl1pPr>
          </a:lstStyle>
          <a:p>
            <a:pPr>
              <a:defRPr/>
            </a:pPr>
            <a:fld id="{8105FAE8-03D8-4D98-AAFC-7A059A2391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370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2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56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1" algn="l" defTabSz="91433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CE56A3-CE0D-43A0-8814-9EAD3873BAC3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3050" y="836613"/>
            <a:ext cx="6194425" cy="3484562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248" y="4715482"/>
            <a:ext cx="4983191" cy="4466002"/>
          </a:xfrm>
          <a:noFill/>
          <a:ln/>
        </p:spPr>
        <p:txBody>
          <a:bodyPr/>
          <a:lstStyle/>
          <a:p>
            <a:pPr eaLnBrk="1" hangingPunct="1"/>
            <a:endParaRPr lang="de-DE" smtClean="0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0150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3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521888" y="3124202"/>
            <a:ext cx="9148233" cy="401648"/>
          </a:xfrm>
          <a:prstGeom prst="rect">
            <a:avLst/>
          </a:prstGeo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28800" y="4351342"/>
            <a:ext cx="8534400" cy="22159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5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42241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596901"/>
            <a:ext cx="11529483" cy="27622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084785" y="2092328"/>
            <a:ext cx="1772793" cy="35455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5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02238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488243" y="596901"/>
            <a:ext cx="369332" cy="4140200"/>
          </a:xfrm>
          <a:prstGeom prst="rect">
            <a:avLst/>
          </a:prstGeo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00805" y="596901"/>
            <a:ext cx="1772793" cy="4140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6120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29419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1396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06716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DB6A2AF-CE8A-4052-9E11-5A33A14BD1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0BC8BDE-2CDB-4D06-BB98-EFB2EA75D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1EFF71A-9358-4B52-8F69-D818A29988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1F9A7F1-AF4A-4435-83B7-9FD02E3B1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21A303C-E75C-4CB2-B059-CDCB87FAF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3449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52D422B-ED00-40B0-9165-87546F8A1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A960440-5F7E-4060-A858-F632AB3D5F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DE873D-DFB9-4985-8BF9-F11835D4CA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CD25987-3B62-444F-836C-52217B2B3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99C289B-B3FB-499F-8C27-2F4BB1DF2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96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9ED5997-2C5C-475E-872C-553B60F65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6B594CB-B266-4610-9584-5998A4742F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685AC40-F003-4FA9-A42C-BFFD1131B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B438BE5-E698-48C8-BC01-73323E730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9CC469D-2098-45FC-A204-48FD36847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3259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2E4FF29-24FF-4DE5-ADB9-9A804AF44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898DA1E-348D-4E37-848E-E68E9F06AC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771B82F-C8CB-4287-8AE0-4CBB4CA41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1A0E6C2-3321-45C3-AB18-326A30EF3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E729858-C3DE-4AC6-888E-33B4C60408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C8D0C1C-5108-4F61-8F4F-82344E0E2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9188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A4F2DEA-EB9C-42C7-BFC0-CE9533268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48A942AE-40AA-4307-9C2C-0814D10389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C2A15E67-9C61-4678-8924-1F2A98D2A6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48F47BDE-0CA5-4AC0-9774-66333A0320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4F71CA5-160B-453D-AC4C-E5A8683CD3B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E000ECAD-1DC0-4DB8-B23F-2978DA2F7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5904712-6C20-43C7-BCC8-45796173A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294997E3-7A47-4FD1-BF6C-E9F8C29D1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543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084" y="2092330"/>
            <a:ext cx="11529483" cy="13295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5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37905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3650026-D873-40BB-8914-E0C241D919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0E8D620-46AF-4A8A-813F-7F131B4A93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0AC39B4-11C7-47A4-8F28-647004B92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9310B8E-38B6-4D4D-B39F-3BF1159EA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11226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770769F-807C-4E43-BB3A-690A3E8624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5DC89C88-05E9-491E-BDFB-6B854351D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8584F9D3-83AC-4455-AEBE-6F04076F5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6571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5913A89-D4A0-487D-A149-C9511B1E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9402240-6504-4AE9-83C4-538754923F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473F8497-C477-4825-B17D-5CF8B62B87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24D6A41-4772-4D52-AE79-7A6CFB4D75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A8BC2376-8C81-4D02-ABFA-CF217512A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AFDEF3E-6D04-4CA1-B76A-1CBDF7DD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39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6778F86-49DF-434F-A916-CCFADFF8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B2ED303B-92A4-4D0B-89F0-E639F369E4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33CEC67-1110-4B8B-98F4-CF156268B6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D3C3E4-F4A6-412E-8CE9-25BA63237B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8EA047C-50CA-48A9-BB35-8C6233FBF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25DFE21-9CD8-49CC-AF1B-BDE101142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8864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0869B78-F27F-495B-A2C2-2793284F6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7064751-C514-4419-85E0-DFFC94D1DFC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3053D27-EB3C-4610-8A69-DCC125D37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45A532C-1325-482A-9DEB-DDFA0FCBEE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D36A21A-59B8-469A-9D91-EEE5988A2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1664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1F475ECF-C99D-4889-88D7-F7E198685AF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3439734-D441-499E-B507-BC7A82D1A1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565E774-C302-49D4-9659-E21D0FDEA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9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97F6840-67C3-4206-A20E-75019B3C2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DDBE94B-D67A-44B7-923C-887C09451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341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080296"/>
          </a:xfrm>
          <a:prstGeom prst="rect">
            <a:avLst/>
          </a:prstGeo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8"/>
            <a:ext cx="10363200" cy="276999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435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596901"/>
            <a:ext cx="11529483" cy="27622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8084" y="2092329"/>
            <a:ext cx="5662083" cy="2188291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3367" y="2092329"/>
            <a:ext cx="5664200" cy="2188291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6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644027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609605"/>
            <a:ext cx="115824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535118"/>
            <a:ext cx="5691717" cy="6647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2174876"/>
            <a:ext cx="5691717" cy="189590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535118"/>
            <a:ext cx="5693833" cy="66479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174876"/>
            <a:ext cx="5693833" cy="189590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pic>
        <p:nvPicPr>
          <p:cNvPr id="8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31197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084" y="596901"/>
            <a:ext cx="11529483" cy="276225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pic>
        <p:nvPicPr>
          <p:cNvPr id="4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42286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7225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623887"/>
            <a:ext cx="4011084" cy="55399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623888"/>
            <a:ext cx="6815667" cy="251761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785942"/>
            <a:ext cx="4011084" cy="1994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6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57840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5"/>
            <a:ext cx="7315200" cy="276999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431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2"/>
            <a:ext cx="7315200" cy="1994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6" name="Picture 6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3201" y="6396039"/>
            <a:ext cx="1816100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7524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11533717" y="6705601"/>
            <a:ext cx="353483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59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53" r:id="rId12"/>
    <p:sldLayoutId id="2147483854" r:id="rId13"/>
    <p:sldLayoutId id="2147483851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280F6169-38FE-4D43-931B-75DCBAF30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D67E026-CA9D-4CE7-8F50-786D9315F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B87351D-0748-4ECA-8FA1-525802B73D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92EA062-DD63-490A-B8E6-ECEBD6CA674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1/19/2020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3C33111-923A-4592-97A8-3CFB72DB7D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40A99A5-B9C1-4B3F-B652-92C5DD77A4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BDD1549-1324-4EFF-87C0-B692114AC8D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Verdana" panose="020B060403050404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Verdana" panose="020B0604030504040204"/>
            </a:endParaRPr>
          </a:p>
        </p:txBody>
      </p:sp>
    </p:spTree>
    <p:extLst>
      <p:ext uri="{BB962C8B-B14F-4D97-AF65-F5344CB8AC3E}">
        <p14:creationId xmlns:p14="http://schemas.microsoft.com/office/powerpoint/2010/main" val="2668530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lide1 Template_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00"/>
            <a:ext cx="12179300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03404" y="914400"/>
            <a:ext cx="596879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NATIONAL MANAGEMENT QUARTERLY</a:t>
            </a:r>
          </a:p>
          <a:p>
            <a:pPr algn="ctr"/>
            <a:r>
              <a:rPr lang="en-US" sz="36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PERFORMANCE REVIEW </a:t>
            </a:r>
          </a:p>
          <a:p>
            <a:pPr algn="ctr"/>
            <a:endParaRPr lang="en-US" sz="3600" b="1" kern="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Arial"/>
            </a:endParaRPr>
          </a:p>
          <a:p>
            <a:pPr algn="ctr"/>
            <a:r>
              <a:rPr lang="en-US" sz="3600" b="1" kern="0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GAUTENG </a:t>
            </a:r>
            <a:r>
              <a:rPr lang="en-US" sz="3600" b="1" kern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rPr>
              <a:t>REGION</a:t>
            </a:r>
            <a:endParaRPr lang="en-US" sz="3600" dirty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60973" y="4970810"/>
            <a:ext cx="471315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/>
              </a:rPr>
              <a:t>Date:  24 NOVEMBER 2020</a:t>
            </a:r>
            <a:endParaRPr lang="en-US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223307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99697" y="1546523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542775"/>
              </p:ext>
            </p:extLst>
          </p:nvPr>
        </p:nvGraphicFramePr>
        <p:xfrm>
          <a:off x="215900" y="2042928"/>
          <a:ext cx="11671302" cy="4450080"/>
        </p:xfrm>
        <a:graphic>
          <a:graphicData uri="http://schemas.openxmlformats.org/drawingml/2006/table">
            <a:tbl>
              <a:tblPr firstRow="1" bandRow="1"/>
              <a:tblGrid>
                <a:gridCol w="16891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8288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2133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12936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eeping inmates constructively busy with other activities such as indoor games and awareness on COVID-19. </a:t>
                      </a:r>
                      <a:b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/>
                      </a:r>
                      <a:b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/>
                      </a:r>
                      <a:b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/>
                      </a:r>
                      <a:b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Managers to engage with inmates on a regular basis to address complaints and request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ordina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rrections</a:t>
                      </a:r>
                    </a:p>
                    <a:p>
                      <a:pPr algn="l"/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rrectional Centr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i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 strict lockdown measures are now in the process to be relaxed due to the level 1 lockdown measures and this will assist in involving more offenders in </a:t>
                      </a:r>
                      <a:r>
                        <a:rPr lang="en-US" sz="12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s</a:t>
                      </a: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recreational activities. </a:t>
                      </a:r>
                    </a:p>
                    <a:p>
                      <a:endParaRPr lang="en-US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fenders are also receiving scheduled non contact visits from family members and friends 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GB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GB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d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isibility of officials in the units.</a:t>
                      </a:r>
                    </a:p>
                    <a:p>
                      <a:pPr algn="l"/>
                      <a:endParaRPr lang="en-GB" sz="1200" b="0" baseline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idelberg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2140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 Centre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EU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B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entr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on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igel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US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442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trellis">
          <a:fgClr>
            <a:srgbClr val="FFFFFF"/>
          </a:fgClr>
          <a:bgClr>
            <a:srgbClr val="BCEABC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3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54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REHABILITATION</a:t>
            </a:r>
            <a:endParaRPr lang="en-ZA" sz="54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5551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03334" y="-4986666"/>
            <a:ext cx="1440000" cy="11413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centage </a:t>
            </a:r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of face cloth masks manufactured for inmates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580341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68941" y="320040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2006854"/>
              </p:ext>
            </p:extLst>
          </p:nvPr>
        </p:nvGraphicFramePr>
        <p:xfrm>
          <a:off x="228600" y="1992395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 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80/84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.52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85/1238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.41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40/93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.15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705/3008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.17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1032725"/>
              </p:ext>
            </p:extLst>
          </p:nvPr>
        </p:nvGraphicFramePr>
        <p:xfrm>
          <a:off x="128989" y="3714555"/>
          <a:ext cx="11910610" cy="2346960"/>
        </p:xfrm>
        <a:graphic>
          <a:graphicData uri="http://schemas.openxmlformats.org/drawingml/2006/table">
            <a:tbl>
              <a:tblPr firstRow="1" bandRow="1"/>
              <a:tblGrid>
                <a:gridCol w="1242611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04191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199004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447799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BURG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00/3400 @ 10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85/238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/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85/908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76445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M II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80/5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.6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00/10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40/5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.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20/20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.1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476445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WATER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0/1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0/1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0043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93469" y="-4876800"/>
            <a:ext cx="12954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04800" y="13565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231332"/>
              </p:ext>
            </p:extLst>
          </p:nvPr>
        </p:nvGraphicFramePr>
        <p:xfrm>
          <a:off x="139700" y="1787046"/>
          <a:ext cx="11518899" cy="2037191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583872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07242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4585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7693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20/2000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.1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ion Workshop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staff 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sterin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acted negatively on the production of masks due to reduced offender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ur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gh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fection rat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76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face cloth masks manufactured for inmates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33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93469" y="-4876800"/>
            <a:ext cx="12954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360149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7114717"/>
              </p:ext>
            </p:extLst>
          </p:nvPr>
        </p:nvGraphicFramePr>
        <p:xfrm>
          <a:off x="215900" y="1794230"/>
          <a:ext cx="11671302" cy="1761744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101849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8858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5461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ion Worksho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inimize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the spread of COVID-19 at Correctional Facilities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ordina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&amp; Care</a:t>
                      </a:r>
                    </a:p>
                    <a:p>
                      <a:pPr algn="l"/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rrectional Centre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 awareness session are being conducted as a result inmates are well informed about the preventative measures.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ion Worksho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ion Worksho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face cloth masks manufactured for inmates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634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03334" y="-4986666"/>
            <a:ext cx="1440000" cy="11413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</a:t>
            </a:r>
            <a:endParaRPr lang="en-ZA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580341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68941" y="320040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7065299"/>
              </p:ext>
            </p:extLst>
          </p:nvPr>
        </p:nvGraphicFramePr>
        <p:xfrm>
          <a:off x="228600" y="1992395"/>
          <a:ext cx="11658600" cy="102108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 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569/38533 @ 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1118/34582 @ 3.23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569/38533 @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1563/34141 @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4.5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2568/38533 @ 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6.6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smtClean="0">
                          <a:solidFill>
                            <a:schemeClr val="tx1"/>
                          </a:solidFill>
                        </a:rPr>
                        <a:t>2347/34108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@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6.8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15413/38533 @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6457/34108 @ </a:t>
                      </a:r>
                    </a:p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18.93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548498"/>
              </p:ext>
            </p:extLst>
          </p:nvPr>
        </p:nvGraphicFramePr>
        <p:xfrm>
          <a:off x="128987" y="3714555"/>
          <a:ext cx="11758212" cy="2331720"/>
        </p:xfrm>
        <a:graphic>
          <a:graphicData uri="http://schemas.openxmlformats.org/drawingml/2006/table">
            <a:tbl>
              <a:tblPr firstRow="1" bandRow="1"/>
              <a:tblGrid>
                <a:gridCol w="1306468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306468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06468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30646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06468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306468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306468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41337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371599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SPOORT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8/192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4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/1672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5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8/192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4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/1652@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93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8/192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4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8/1644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74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68/1927 @ 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4/1644 @ 2.75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BURG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7/385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/331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7/385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7/3248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0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7/3853 @ 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4/3235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5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42/385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4/3235 @ 22.0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JHB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2/963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0/940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6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2/963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14/9416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4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2/9633 @ 6.6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97/959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1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52/963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12/9597@18.8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KM II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4/847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5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7365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4/847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5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5/7224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01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64/847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5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9/7076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3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84/8477 @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14/7076 @8.6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1571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03334" y="-4986666"/>
            <a:ext cx="1440000" cy="11413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</a:t>
            </a:r>
            <a:endParaRPr lang="en-ZA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04800" y="152898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9726232"/>
              </p:ext>
            </p:extLst>
          </p:nvPr>
        </p:nvGraphicFramePr>
        <p:xfrm>
          <a:off x="63096" y="1987302"/>
          <a:ext cx="11976505" cy="1706880"/>
        </p:xfrm>
        <a:graphic>
          <a:graphicData uri="http://schemas.openxmlformats.org/drawingml/2006/table">
            <a:tbl>
              <a:tblPr firstRow="1" bandRow="1"/>
              <a:tblGrid>
                <a:gridCol w="1232304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447801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DORP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1/269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71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/2633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3%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1/2697  @6.71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/2600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19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1/269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71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/274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64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86/269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7/2747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2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WKOP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3/4239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3/3698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6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3/4239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4/3631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9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3/4239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8%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4/3534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6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98/4239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6/3534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15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DBEE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0/5395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1/4409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3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0/5395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7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5/4299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9/5395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5%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3/4231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74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59/5395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indent="0" algn="l">
                        <a:tabLst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78/4231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@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48%</a:t>
                      </a:r>
                    </a:p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2868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93469" y="-4876800"/>
            <a:ext cx="12954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04800" y="13565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5058992"/>
              </p:ext>
            </p:extLst>
          </p:nvPr>
        </p:nvGraphicFramePr>
        <p:xfrm>
          <a:off x="139700" y="1787046"/>
          <a:ext cx="11518899" cy="4446740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37029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2/1079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/83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94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1"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volvement of external service providers was limited due to COVID 19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ral decadence/ degeneration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Increased criminal </a:t>
                      </a:r>
                      <a:r>
                        <a:rPr lang="en-US" sz="12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behaviour</a:t>
                      </a: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12017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4/597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7/63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45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60829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8497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80/2697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4/241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42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32/5587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59/612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76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2/260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1/223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79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4/249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0/214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19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C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56/338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315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l RD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4/119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3/87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84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i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6/85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45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e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2/22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/26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58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Ma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</a:t>
            </a:r>
            <a:endParaRPr lang="en-ZA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964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93469" y="-4876800"/>
            <a:ext cx="12954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360149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654044"/>
              </p:ext>
            </p:extLst>
          </p:nvPr>
        </p:nvGraphicFramePr>
        <p:xfrm>
          <a:off x="215900" y="1794230"/>
          <a:ext cx="11671302" cy="4329856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101849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8858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30810"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Rendering of spiritual care services to offenders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Avail Spiritual  and Moral  Development Coordinators' to enhance service delivery.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ordina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rrections</a:t>
                      </a:r>
                    </a:p>
                    <a:p>
                      <a:pPr algn="l"/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rrectional Centre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50% of SMDC’s and Service Providers phased in to enhance delivery</a:t>
                      </a:r>
                    </a:p>
                    <a:p>
                      <a:pPr algn="l"/>
                      <a:endParaRPr lang="en-US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tions resumed at full capacity however it is being impacted by the 50% of staff </a:t>
                      </a:r>
                      <a:r>
                        <a:rPr lang="en-GB" sz="1200" b="0" dirty="0" err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stering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 rowSpan="5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C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l RD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i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e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 Ma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receiving spiritual care services</a:t>
            </a:r>
            <a:endParaRPr lang="en-ZA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936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03334" y="-4986666"/>
            <a:ext cx="1440000" cy="114133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580341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68941" y="320040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4455605"/>
              </p:ext>
            </p:extLst>
          </p:nvPr>
        </p:nvGraphicFramePr>
        <p:xfrm>
          <a:off x="228600" y="1992395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 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 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1/74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.31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21/74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.31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2407778"/>
              </p:ext>
            </p:extLst>
          </p:nvPr>
        </p:nvGraphicFramePr>
        <p:xfrm>
          <a:off x="128989" y="3714555"/>
          <a:ext cx="11910610" cy="903165"/>
        </p:xfrm>
        <a:graphic>
          <a:graphicData uri="http://schemas.openxmlformats.org/drawingml/2006/table">
            <a:tbl>
              <a:tblPr firstRow="1" bandRow="1"/>
              <a:tblGrid>
                <a:gridCol w="1242611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04191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323401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199004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447799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PRIL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 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MA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NE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76445"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ZWATER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/29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7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/29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7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733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DBE75937-E151-4B2B-8C64-9A22524FD06C}"/>
              </a:ext>
            </a:extLst>
          </p:cNvPr>
          <p:cNvSpPr/>
          <p:nvPr/>
        </p:nvSpPr>
        <p:spPr>
          <a:xfrm>
            <a:off x="0" y="4292600"/>
            <a:ext cx="12192000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D9DE8BFE-FE5B-4B85-95C6-4BC24BEA18CB}"/>
              </a:ext>
            </a:extLst>
          </p:cNvPr>
          <p:cNvSpPr/>
          <p:nvPr/>
        </p:nvSpPr>
        <p:spPr>
          <a:xfrm>
            <a:off x="2311400" y="0"/>
            <a:ext cx="1188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343C31C0-A678-488B-954D-3C31F9292F64}"/>
              </a:ext>
            </a:extLst>
          </p:cNvPr>
          <p:cNvSpPr/>
          <p:nvPr/>
        </p:nvSpPr>
        <p:spPr>
          <a:xfrm>
            <a:off x="2420173" y="-1"/>
            <a:ext cx="9761728" cy="4292600"/>
          </a:xfrm>
          <a:prstGeom prst="rect">
            <a:avLst/>
          </a:prstGeom>
          <a:solidFill>
            <a:schemeClr val="accent6">
              <a:lumMod val="75000"/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6B460027-1BF7-4B04-A53C-BB6E7681BBF8}"/>
              </a:ext>
            </a:extLst>
          </p:cNvPr>
          <p:cNvSpPr/>
          <p:nvPr/>
        </p:nvSpPr>
        <p:spPr>
          <a:xfrm>
            <a:off x="2420173" y="4415868"/>
            <a:ext cx="9761728" cy="2451101"/>
          </a:xfrm>
          <a:prstGeom prst="rect">
            <a:avLst/>
          </a:prstGeom>
          <a:solidFill>
            <a:schemeClr val="accent6">
              <a:lumMod val="60000"/>
              <a:lumOff val="40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07492E08-0E2F-4761-9D2E-B3813C92F001}"/>
              </a:ext>
            </a:extLst>
          </p:cNvPr>
          <p:cNvSpPr/>
          <p:nvPr/>
        </p:nvSpPr>
        <p:spPr>
          <a:xfrm>
            <a:off x="2908169" y="532169"/>
            <a:ext cx="7851332" cy="33239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2020/2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prstClr val="white"/>
                </a:solidFill>
                <a:latin typeface="Consolas" panose="020B0609020204030204"/>
              </a:rPr>
              <a:t>PERFORMANCE TARGETS NOT ACHIEVED DURING QUARTER 2</a:t>
            </a:r>
          </a:p>
        </p:txBody>
      </p:sp>
    </p:spTree>
    <p:extLst>
      <p:ext uri="{BB962C8B-B14F-4D97-AF65-F5344CB8AC3E}">
        <p14:creationId xmlns:p14="http://schemas.microsoft.com/office/powerpoint/2010/main" val="8946013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93469" y="-4876800"/>
            <a:ext cx="12954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304800" y="13565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2723245"/>
              </p:ext>
            </p:extLst>
          </p:nvPr>
        </p:nvGraphicFramePr>
        <p:xfrm>
          <a:off x="139700" y="1787046"/>
          <a:ext cx="11518899" cy="1945751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583872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707242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4585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7693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/29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1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 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dering of GET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grammes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were suspended due to </a:t>
                      </a:r>
                    </a:p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VID-19 .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n the success rate</a:t>
                      </a:r>
                    </a:p>
                    <a:p>
                      <a:pPr algn="l"/>
                      <a:endParaRPr lang="en-US" sz="1200" b="0" baseline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nskilled population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7693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just" fontAlgn="t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306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93469" y="-4876800"/>
            <a:ext cx="12954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360149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60775"/>
              </p:ext>
            </p:extLst>
          </p:nvPr>
        </p:nvGraphicFramePr>
        <p:xfrm>
          <a:off x="215900" y="1794230"/>
          <a:ext cx="11671302" cy="1761744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2101849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788585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5461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Development of offenders with the necessary competencies and skills for successful reintegration.</a:t>
                      </a:r>
                      <a:endParaRPr lang="en-US" sz="12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ordina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&amp; Care</a:t>
                      </a:r>
                    </a:p>
                    <a:p>
                      <a:pPr algn="l"/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rrectional Centre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vide support to enhance participation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defTabSz="914331" eaLnBrk="1" fontAlgn="t" hangingPunct="1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offenders participating in GET per academic year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4753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trellis">
          <a:fgClr>
            <a:srgbClr val="FFFFFF"/>
          </a:fgClr>
          <a:bgClr>
            <a:srgbClr val="BCEABC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endParaRPr kumimoji="0" lang="en-Z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bg2"/>
                </a:buClr>
                <a:buSzTx/>
                <a:buFontTx/>
                <a:buNone/>
                <a:tabLst/>
              </a:pPr>
              <a:endParaRPr kumimoji="0" lang="en-ZA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4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CARE</a:t>
            </a:r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0158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ZA" sz="2400" b="0" dirty="0">
                <a:solidFill>
                  <a:schemeClr val="bg1"/>
                </a:solidFill>
                <a:latin typeface="Arial Black" panose="020B0A04020102020204" pitchFamily="34" charset="0"/>
              </a:rPr>
              <a:t>Offenders Viral Load suppression rate (at 12 months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9909" y="1601412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2</a:t>
            </a:r>
            <a:r>
              <a:rPr lang="en-GB" sz="1800" b="1" kern="0" baseline="30000" dirty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</a:t>
            </a:r>
            <a:r>
              <a:rPr lang="en-GB" sz="1800" b="1" kern="0" dirty="0">
                <a:solidFill>
                  <a:prstClr val="black"/>
                </a:solidFill>
              </a:rPr>
              <a:t>QUARTER 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65772" y="304800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1007944"/>
              </p:ext>
            </p:extLst>
          </p:nvPr>
        </p:nvGraphicFramePr>
        <p:xfrm>
          <a:off x="254000" y="1970744"/>
          <a:ext cx="11658600" cy="88392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</a:t>
                      </a:r>
                      <a:endParaRPr lang="en-ZA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/2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2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/3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.71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/3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.38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/9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6.96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93565"/>
              </p:ext>
            </p:extLst>
          </p:nvPr>
        </p:nvGraphicFramePr>
        <p:xfrm>
          <a:off x="254000" y="3578744"/>
          <a:ext cx="11658600" cy="2669656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63347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678726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/@ 10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4 @ 5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7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.14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/1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.33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67872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/@ 10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.67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678726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/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/1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8677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369" y="15973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9785088"/>
              </p:ext>
            </p:extLst>
          </p:nvPr>
        </p:nvGraphicFramePr>
        <p:xfrm>
          <a:off x="241300" y="2124124"/>
          <a:ext cx="11518899" cy="4200475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513115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777999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80875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2800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n-adherence to ARV treatment due to self administering as per the Primary</a:t>
                      </a:r>
                      <a:r>
                        <a:rPr lang="en-GB" sz="1200" b="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Health Care requirement.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Non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 compliance with regulation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</a:rPr>
                        <a:t>Failing  ART drugs</a:t>
                      </a:r>
                      <a:endParaRPr lang="en-US" sz="12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Relap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Resistance to ART and Death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Compromised/Increased viral load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502800">
                <a:tc>
                  <a:txBody>
                    <a:bodyPr/>
                    <a:lstStyle/>
                    <a:p>
                      <a:pPr algn="l"/>
                      <a:r>
                        <a:rPr lang="en-ZA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/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.5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02800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.33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5028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 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.67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5028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 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/1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5028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 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on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502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% 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igel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defTabSz="914331" eaLnBrk="1" fontAlgn="t" hangingPunct="1"/>
            <a:r>
              <a:rPr lang="en-ZA" sz="2400" b="0" dirty="0">
                <a:solidFill>
                  <a:schemeClr val="bg1"/>
                </a:solidFill>
                <a:latin typeface="Arial Black" panose="020B0A04020102020204" pitchFamily="34" charset="0"/>
              </a:rPr>
              <a:t>Offenders Viral Load suppression rate (at 12 months)</a:t>
            </a:r>
          </a:p>
        </p:txBody>
      </p:sp>
    </p:spTree>
    <p:extLst>
      <p:ext uri="{BB962C8B-B14F-4D97-AF65-F5344CB8AC3E}">
        <p14:creationId xmlns:p14="http://schemas.microsoft.com/office/powerpoint/2010/main" val="878314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396817"/>
              </p:ext>
            </p:extLst>
          </p:nvPr>
        </p:nvGraphicFramePr>
        <p:xfrm>
          <a:off x="215900" y="2042928"/>
          <a:ext cx="11671302" cy="3147738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ress viral load of offenders on Antiretroviral Therapy at 12 months after initiation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vide support and monitor Adherence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witch patients with failing Regimen immediate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ordina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rrections</a:t>
                      </a:r>
                    </a:p>
                    <a:p>
                      <a:pPr algn="l"/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rrectional Centre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There is a decline of 2.06% as compared to</a:t>
                      </a:r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Q1</a:t>
                      </a:r>
                    </a:p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Strengthen DOT strategy and adherence counselling</a:t>
                      </a:r>
                    </a:p>
                    <a:p>
                      <a:pPr marL="0" marR="0" lvl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 rowSpan="3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on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igel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defTabSz="914331" eaLnBrk="1" fontAlgn="t" hangingPunct="1"/>
            <a:r>
              <a:rPr lang="en-ZA" sz="2400" b="0" dirty="0">
                <a:solidFill>
                  <a:schemeClr val="bg1"/>
                </a:solidFill>
                <a:latin typeface="Arial Black" panose="020B0A04020102020204" pitchFamily="34" charset="0"/>
              </a:rPr>
              <a:t>Offenders Viral Load suppression rate (at 12 months)</a:t>
            </a:r>
          </a:p>
        </p:txBody>
      </p:sp>
    </p:spTree>
    <p:extLst>
      <p:ext uri="{BB962C8B-B14F-4D97-AF65-F5344CB8AC3E}">
        <p14:creationId xmlns:p14="http://schemas.microsoft.com/office/powerpoint/2010/main" val="2713715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trellis">
          <a:fgClr>
            <a:srgbClr val="FFFFFF"/>
          </a:fgClr>
          <a:bgClr>
            <a:srgbClr val="BCEABC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5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60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SOCIAL REINTEGATION</a:t>
            </a:r>
            <a:endParaRPr lang="en-ZA" sz="60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2553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fontAlgn="t"/>
            <a:endParaRPr lang="en-US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13584" y="327660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0801706"/>
              </p:ext>
            </p:extLst>
          </p:nvPr>
        </p:nvGraphicFramePr>
        <p:xfrm>
          <a:off x="228600" y="1808377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9/1117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9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/165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5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54/2027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33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473 /2027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@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72.67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5328455"/>
              </p:ext>
            </p:extLst>
          </p:nvPr>
        </p:nvGraphicFramePr>
        <p:xfrm>
          <a:off x="228600" y="3733800"/>
          <a:ext cx="11658600" cy="23622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1430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4478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478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0668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6002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0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0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0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09/10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0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8768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28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35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1/37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.25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8/37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.75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334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/24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31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/36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41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6/52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1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69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54/52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7.31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/5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.79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/6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30.16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/6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.76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  <a:p>
                      <a:pPr algn="l"/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3/6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3.24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54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fontAlgn="t"/>
            <a:endParaRPr lang="en-US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13584" y="152898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010517"/>
              </p:ext>
            </p:extLst>
          </p:nvPr>
        </p:nvGraphicFramePr>
        <p:xfrm>
          <a:off x="228600" y="1987302"/>
          <a:ext cx="11658600" cy="298704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/18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/265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28%</a:t>
                      </a:r>
                    </a:p>
                    <a:p>
                      <a:pPr algn="l"/>
                      <a:endParaRPr lang="en-US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/28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4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267/28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93.36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8768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13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/15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33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8/19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.9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36/19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70.1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334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6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29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39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97/39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99.5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4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5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/7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94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9/7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8.06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1460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011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999896"/>
              </p:ext>
            </p:extLst>
          </p:nvPr>
        </p:nvGraphicFramePr>
        <p:xfrm>
          <a:off x="215900" y="1969183"/>
          <a:ext cx="11518899" cy="4375665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134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6892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9  @ 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thonjen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D Activities were suspended due to COVID-19 restrictions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Victim rights are violated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Non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cceptance of offenders on relea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Reoffending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46  @ 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6  @ 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38  @ 0.00%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36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>
                        <a:tabLst>
                          <a:tab pos="53975" algn="l"/>
                        </a:tabLst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18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.1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/237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02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31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8.71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/22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6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/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55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04500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70841"/>
            <a:ext cx="7983537" cy="393699"/>
          </a:xfrm>
        </p:spPr>
        <p:txBody>
          <a:bodyPr/>
          <a:lstStyle/>
          <a:p>
            <a:r>
              <a:rPr lang="en-ZA" sz="28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Notes to the presentation</a:t>
            </a:r>
            <a:endParaRPr lang="en-GB" sz="28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30200" y="1814313"/>
            <a:ext cx="1125220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000" dirty="0"/>
              <a:t>Regions to focus on targets not achieved for Quarter </a:t>
            </a:r>
            <a:r>
              <a:rPr lang="en-ZA" sz="2000" dirty="0" smtClean="0"/>
              <a:t>2</a:t>
            </a:r>
          </a:p>
          <a:p>
            <a:endParaRPr lang="en-ZA" sz="2000" dirty="0" smtClean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sz="2000" dirty="0" smtClean="0"/>
              <a:t>Reports </a:t>
            </a:r>
            <a:r>
              <a:rPr lang="en-ZA" sz="2000" dirty="0"/>
              <a:t>should indicate what was planned against what was not achieved</a:t>
            </a:r>
            <a:endParaRPr lang="en-GB" sz="2000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sz="2000" dirty="0"/>
              <a:t>Include under achievement at source (Correctional Centres and Management Areas)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sz="2000" dirty="0"/>
              <a:t>Identify root causes of the under achievement and associated risks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sz="2000" dirty="0"/>
              <a:t>Explain the corrective actions required in a </a:t>
            </a:r>
            <a:r>
              <a:rPr lang="en-ZA" sz="2000" dirty="0" err="1"/>
              <a:t>projectised</a:t>
            </a:r>
            <a:r>
              <a:rPr lang="en-ZA" sz="2000" dirty="0"/>
              <a:t> approach (i.e. what needs to be done, when and by whom, when is the target expected to be achieved)</a:t>
            </a:r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sz="2000" dirty="0"/>
              <a:t>What are the long term solutions to ensure that the problems identified do not </a:t>
            </a:r>
            <a:r>
              <a:rPr lang="en-ZA" sz="2000" dirty="0" smtClean="0"/>
              <a:t>re-occur </a:t>
            </a:r>
            <a:endParaRPr lang="en-ZA" sz="2000" dirty="0"/>
          </a:p>
          <a:p>
            <a:pPr marL="285750" indent="-285750">
              <a:spcAft>
                <a:spcPts val="1200"/>
              </a:spcAft>
              <a:buFontTx/>
              <a:buChar char="-"/>
            </a:pPr>
            <a:r>
              <a:rPr lang="en-ZA" sz="2000" dirty="0"/>
              <a:t>Where the reasons for under-performance are COVID related, what are the alternative modes of delivery that will be implemented for Q2 to Q4 to ensure performance gets back on track</a:t>
            </a:r>
          </a:p>
        </p:txBody>
      </p:sp>
    </p:spTree>
    <p:extLst>
      <p:ext uri="{BB962C8B-B14F-4D97-AF65-F5344CB8AC3E}">
        <p14:creationId xmlns:p14="http://schemas.microsoft.com/office/powerpoint/2010/main" val="4051699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011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9987832"/>
              </p:ext>
            </p:extLst>
          </p:nvPr>
        </p:nvGraphicFramePr>
        <p:xfrm>
          <a:off x="215900" y="1969183"/>
          <a:ext cx="11518899" cy="3853646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134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6892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8006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2201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7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l RD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8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D Activities were suspended due to COVID-19 restrictions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8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8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Victim rights are violated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Non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cceptance of offenders on relea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Reoffending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5</a:t>
                      </a:r>
                      <a:r>
                        <a:rPr lang="en-US" sz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8423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2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i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male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Cor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20040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Max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1262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/286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64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508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011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4847112"/>
              </p:ext>
            </p:extLst>
          </p:nvPr>
        </p:nvGraphicFramePr>
        <p:xfrm>
          <a:off x="215900" y="1969183"/>
          <a:ext cx="11518899" cy="4203019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134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6892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893372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60363">
                <a:tc>
                  <a:txBody>
                    <a:bodyPr/>
                    <a:lstStyle/>
                    <a:p>
                      <a:pPr algn="ctr"/>
                      <a:r>
                        <a:rPr lang="en-ZA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/0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 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D Activities were suspended due to COVID-19 restrictions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Victim rights are violated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Non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cceptance of offenders on relea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Reoffending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63765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0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/>
                        <a:t>Medium B</a:t>
                      </a:r>
                      <a:endParaRPr lang="en-US" sz="1200" b="0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0504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/0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0504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00403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0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0.00%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42054">
                <a:tc>
                  <a:txBody>
                    <a:bodyPr/>
                    <a:lstStyle/>
                    <a:p>
                      <a:pPr algn="ctr"/>
                      <a:r>
                        <a:rPr lang="en-ZA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  <a:endParaRPr lang="en-ZA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399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0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542054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/72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.94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754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9136782"/>
              </p:ext>
            </p:extLst>
          </p:nvPr>
        </p:nvGraphicFramePr>
        <p:xfrm>
          <a:off x="215900" y="2042928"/>
          <a:ext cx="11671302" cy="427470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thonjen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fo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ictims an opportunity to engage with offenders, parolees/probationers through Restorative Justic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of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s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mmunity Correction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>
                        <a:tabLst>
                          <a:tab pos="53975" algn="l"/>
                        </a:tabLst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957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931569" y="-4914900"/>
            <a:ext cx="12192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2759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823285"/>
              </p:ext>
            </p:extLst>
          </p:nvPr>
        </p:nvGraphicFramePr>
        <p:xfrm>
          <a:off x="215900" y="1702082"/>
          <a:ext cx="11671302" cy="462252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89666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0076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54944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54706"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l RD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fo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ictims an opportunity to engage with offenders, parolees/probationers through Restorative Justic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of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s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mmunity Correction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983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98332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i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98332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male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9833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Cor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03297"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Max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90999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74601">
                <a:tc rowSpan="5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 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02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/>
                        <a:t>Medium B</a:t>
                      </a:r>
                      <a:endParaRPr lang="en-US" sz="1200" b="0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85939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91608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8332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2704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0727282"/>
              </p:ext>
            </p:extLst>
          </p:nvPr>
        </p:nvGraphicFramePr>
        <p:xfrm>
          <a:off x="215900" y="2042928"/>
          <a:ext cx="11671302" cy="4281672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129979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839116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fo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ictims an opportunity to engage with offenders, parolees/probationers through Restorative Justic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of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s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mmunity Correction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142763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victim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523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</a:t>
            </a:r>
            <a:r>
              <a:rPr lang="en-US" sz="2400" dirty="0" smtClean="0">
                <a:solidFill>
                  <a:schemeClr val="bg1"/>
                </a:solidFill>
                <a:latin typeface="Calibri" panose="020F0502020204030204" pitchFamily="34" charset="0"/>
              </a:rPr>
              <a:t>participating 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fontAlgn="t"/>
            <a:endParaRPr lang="en-US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4509" y="1416746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09101" y="3091934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035027"/>
              </p:ext>
            </p:extLst>
          </p:nvPr>
        </p:nvGraphicFramePr>
        <p:xfrm>
          <a:off x="228600" y="1808377"/>
          <a:ext cx="11658600" cy="10668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/40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72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/48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19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4/60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.5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05/60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6.5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5338467"/>
              </p:ext>
            </p:extLst>
          </p:nvPr>
        </p:nvGraphicFramePr>
        <p:xfrm>
          <a:off x="228600" y="3497125"/>
          <a:ext cx="11658600" cy="2362200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9906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1430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4478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6002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4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4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4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44/4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0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48768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3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34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1/13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6.32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5/13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.68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5334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9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/10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71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/14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.51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28/14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86.49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/1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.45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/1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.67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/1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8.75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5/1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31.25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3860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fontAlgn="t"/>
            <a:endParaRPr lang="en-US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13584" y="152898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088473"/>
              </p:ext>
            </p:extLst>
          </p:nvPr>
        </p:nvGraphicFramePr>
        <p:xfrm>
          <a:off x="228600" y="1987302"/>
          <a:ext cx="11658600" cy="4184897"/>
        </p:xfrm>
        <a:graphic>
          <a:graphicData uri="http://schemas.openxmlformats.org/drawingml/2006/table">
            <a:tbl>
              <a:tblPr firstRow="1" bandRow="1"/>
              <a:tblGrid>
                <a:gridCol w="12954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9144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3716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192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8288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63683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955248">
                <a:tc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/4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.08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/75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67%</a:t>
                      </a:r>
                    </a:p>
                    <a:p>
                      <a:pPr algn="l"/>
                      <a:endParaRPr lang="en-US" sz="12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/8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45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70/8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79.55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95524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46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7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5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88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/8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.98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73/8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82.02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95524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2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5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7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74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71/7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97.26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68232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8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/1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9/1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6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105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011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844386"/>
              </p:ext>
            </p:extLst>
          </p:nvPr>
        </p:nvGraphicFramePr>
        <p:xfrm>
          <a:off x="215900" y="1969183"/>
          <a:ext cx="11518899" cy="4375665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134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6892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4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thonjen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D Activities were suspended due to COVID-19 restrictions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Poor reintegration into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the community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Reoffending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2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1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9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0/136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>
                        <a:tabLst>
                          <a:tab pos="53975" algn="l"/>
                        </a:tabLst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/2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.0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5/91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49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3/10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.0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/42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05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845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011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2242590"/>
              </p:ext>
            </p:extLst>
          </p:nvPr>
        </p:nvGraphicFramePr>
        <p:xfrm>
          <a:off x="215900" y="1969183"/>
          <a:ext cx="11518899" cy="4259906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134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6892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8006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98753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cal RD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D Activities were suspended due to COVID-19 restrictions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Victim rights are violated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Non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cceptance of offenders on relea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Reoffending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3</a:t>
                      </a:r>
                      <a:r>
                        <a:rPr lang="en-US" sz="12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03833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5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i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06260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male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81000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Cor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-Max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0">
                <a:tc rowSpan="2"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5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.00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318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al</a:t>
                      </a:r>
                      <a:endParaRPr lang="en-US" sz="1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12629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/88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.45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51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150115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917763"/>
              </p:ext>
            </p:extLst>
          </p:nvPr>
        </p:nvGraphicFramePr>
        <p:xfrm>
          <a:off x="215900" y="1969183"/>
          <a:ext cx="11518899" cy="4124898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491343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76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76892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68006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502201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/0@ </a:t>
                      </a:r>
                      <a:r>
                        <a:rPr lang="en-ZA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5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 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D Activities were suspended due to COVID-19 restrictions</a:t>
                      </a:r>
                      <a:endParaRPr lang="en-GB" sz="1200" b="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kdown restrictions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Victim rights are violated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Non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cceptance of offenders on release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Reoffending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610772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0 @ </a:t>
                      </a:r>
                      <a:r>
                        <a:rPr lang="en-ZA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/>
                        <a:t>Medium B</a:t>
                      </a:r>
                      <a:endParaRPr lang="en-US" sz="1200" b="0" dirty="0"/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02201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0 @ </a:t>
                      </a:r>
                      <a:r>
                        <a:rPr lang="en-ZA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um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502201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0 @ </a:t>
                      </a:r>
                      <a:r>
                        <a:rPr lang="en-ZA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</a:p>
                    <a:p>
                      <a:pPr algn="l"/>
                      <a:endParaRPr lang="en-US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502201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0 @ </a:t>
                      </a:r>
                      <a:r>
                        <a:rPr lang="en-ZA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12629">
                <a:tc>
                  <a:txBody>
                    <a:bodyPr/>
                    <a:lstStyle/>
                    <a:p>
                      <a:pPr algn="l"/>
                      <a:r>
                        <a:rPr lang="en-US" sz="120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73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74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412629">
                <a:tc>
                  <a:txBody>
                    <a:bodyPr/>
                    <a:lstStyle/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/15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.00%</a:t>
                      </a:r>
                    </a:p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232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trellis">
          <a:fgClr>
            <a:srgbClr val="FFFFFF"/>
          </a:fgClr>
          <a:bgClr>
            <a:srgbClr val="BCEABC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65498" y="-21773"/>
            <a:ext cx="8392701" cy="6270173"/>
            <a:chOff x="65499" y="-21773"/>
            <a:chExt cx="7302314" cy="5185651"/>
          </a:xfrm>
        </p:grpSpPr>
        <p:sp>
          <p:nvSpPr>
            <p:cNvPr id="3" name="Rectangle: Top Corners Rounded 24">
              <a:extLst>
                <a:ext uri="{FF2B5EF4-FFF2-40B4-BE49-F238E27FC236}">
                  <a16:creationId xmlns="" xmlns:a16="http://schemas.microsoft.com/office/drawing/2014/main" id="{0DC4C310-37AB-43E0-9D8B-683A5AE91EB8}"/>
                </a:ext>
              </a:extLst>
            </p:cNvPr>
            <p:cNvSpPr/>
            <p:nvPr/>
          </p:nvSpPr>
          <p:spPr>
            <a:xfrm rot="10800000">
              <a:off x="575313" y="-10887"/>
              <a:ext cx="6282685" cy="5174765"/>
            </a:xfrm>
            <a:prstGeom prst="round2SameRect">
              <a:avLst>
                <a:gd name="adj1" fmla="val 13687"/>
                <a:gd name="adj2" fmla="val 0"/>
              </a:avLst>
            </a:prstGeom>
            <a:gradFill flip="none" rotWithShape="1">
              <a:gsLst>
                <a:gs pos="99000">
                  <a:srgbClr val="00CC99"/>
                </a:gs>
                <a:gs pos="1000">
                  <a:srgbClr val="009900"/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5" name="Isosceles Triangle 3"/>
            <p:cNvSpPr/>
            <p:nvPr/>
          </p:nvSpPr>
          <p:spPr bwMode="auto">
            <a:xfrm>
              <a:off x="6847113" y="-21773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  <p:sp>
          <p:nvSpPr>
            <p:cNvPr id="6" name="Isosceles Triangle 3"/>
            <p:cNvSpPr/>
            <p:nvPr/>
          </p:nvSpPr>
          <p:spPr bwMode="auto">
            <a:xfrm rot="10800000" flipV="1">
              <a:off x="65499" y="-10887"/>
              <a:ext cx="520700" cy="1270000"/>
            </a:xfrm>
            <a:custGeom>
              <a:avLst/>
              <a:gdLst>
                <a:gd name="connsiteX0" fmla="*/ 0 w 431800"/>
                <a:gd name="connsiteY0" fmla="*/ 1143000 h 1143000"/>
                <a:gd name="connsiteX1" fmla="*/ 215900 w 431800"/>
                <a:gd name="connsiteY1" fmla="*/ 0 h 1143000"/>
                <a:gd name="connsiteX2" fmla="*/ 431800 w 431800"/>
                <a:gd name="connsiteY2" fmla="*/ 1143000 h 1143000"/>
                <a:gd name="connsiteX3" fmla="*/ 0 w 431800"/>
                <a:gd name="connsiteY3" fmla="*/ 1143000 h 1143000"/>
                <a:gd name="connsiteX0" fmla="*/ 0 w 647700"/>
                <a:gd name="connsiteY0" fmla="*/ 1117600 h 1117600"/>
                <a:gd name="connsiteX1" fmla="*/ 647700 w 647700"/>
                <a:gd name="connsiteY1" fmla="*/ 0 h 1117600"/>
                <a:gd name="connsiteX2" fmla="*/ 431800 w 647700"/>
                <a:gd name="connsiteY2" fmla="*/ 1117600 h 1117600"/>
                <a:gd name="connsiteX3" fmla="*/ 0 w 647700"/>
                <a:gd name="connsiteY3" fmla="*/ 1117600 h 1117600"/>
                <a:gd name="connsiteX0" fmla="*/ 0 w 647700"/>
                <a:gd name="connsiteY0" fmla="*/ 1117600 h 1244600"/>
                <a:gd name="connsiteX1" fmla="*/ 647700 w 647700"/>
                <a:gd name="connsiteY1" fmla="*/ 0 h 1244600"/>
                <a:gd name="connsiteX2" fmla="*/ 558800 w 647700"/>
                <a:gd name="connsiteY2" fmla="*/ 1244600 h 1244600"/>
                <a:gd name="connsiteX3" fmla="*/ 0 w 647700"/>
                <a:gd name="connsiteY3" fmla="*/ 1117600 h 1244600"/>
                <a:gd name="connsiteX0" fmla="*/ 0 w 647700"/>
                <a:gd name="connsiteY0" fmla="*/ 1270000 h 1397000"/>
                <a:gd name="connsiteX1" fmla="*/ 647700 w 647700"/>
                <a:gd name="connsiteY1" fmla="*/ 0 h 1397000"/>
                <a:gd name="connsiteX2" fmla="*/ 558800 w 647700"/>
                <a:gd name="connsiteY2" fmla="*/ 1397000 h 1397000"/>
                <a:gd name="connsiteX3" fmla="*/ 0 w 647700"/>
                <a:gd name="connsiteY3" fmla="*/ 1270000 h 1397000"/>
                <a:gd name="connsiteX0" fmla="*/ 0 w 469900"/>
                <a:gd name="connsiteY0" fmla="*/ 1701800 h 1701800"/>
                <a:gd name="connsiteX1" fmla="*/ 469900 w 469900"/>
                <a:gd name="connsiteY1" fmla="*/ 0 h 1701800"/>
                <a:gd name="connsiteX2" fmla="*/ 381000 w 469900"/>
                <a:gd name="connsiteY2" fmla="*/ 1397000 h 1701800"/>
                <a:gd name="connsiteX3" fmla="*/ 0 w 469900"/>
                <a:gd name="connsiteY3" fmla="*/ 1701800 h 17018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08000 w 596900"/>
                <a:gd name="connsiteY2" fmla="*/ 1397000 h 1397000"/>
                <a:gd name="connsiteX3" fmla="*/ 0 w 596900"/>
                <a:gd name="connsiteY3" fmla="*/ 1346200 h 1397000"/>
                <a:gd name="connsiteX0" fmla="*/ 0 w 596900"/>
                <a:gd name="connsiteY0" fmla="*/ 1346200 h 1397000"/>
                <a:gd name="connsiteX1" fmla="*/ 596900 w 596900"/>
                <a:gd name="connsiteY1" fmla="*/ 0 h 1397000"/>
                <a:gd name="connsiteX2" fmla="*/ 584200 w 596900"/>
                <a:gd name="connsiteY2" fmla="*/ 1397000 h 1397000"/>
                <a:gd name="connsiteX3" fmla="*/ 0 w 596900"/>
                <a:gd name="connsiteY3" fmla="*/ 1346200 h 1397000"/>
                <a:gd name="connsiteX0" fmla="*/ 0 w 584200"/>
                <a:gd name="connsiteY0" fmla="*/ 1193800 h 1244600"/>
                <a:gd name="connsiteX1" fmla="*/ 495300 w 584200"/>
                <a:gd name="connsiteY1" fmla="*/ 0 h 1244600"/>
                <a:gd name="connsiteX2" fmla="*/ 584200 w 584200"/>
                <a:gd name="connsiteY2" fmla="*/ 1244600 h 1244600"/>
                <a:gd name="connsiteX3" fmla="*/ 0 w 584200"/>
                <a:gd name="connsiteY3" fmla="*/ 1193800 h 1244600"/>
                <a:gd name="connsiteX0" fmla="*/ 0 w 584200"/>
                <a:gd name="connsiteY0" fmla="*/ 1219200 h 1270000"/>
                <a:gd name="connsiteX1" fmla="*/ 571500 w 584200"/>
                <a:gd name="connsiteY1" fmla="*/ 0 h 1270000"/>
                <a:gd name="connsiteX2" fmla="*/ 584200 w 584200"/>
                <a:gd name="connsiteY2" fmla="*/ 1270000 h 1270000"/>
                <a:gd name="connsiteX3" fmla="*/ 0 w 584200"/>
                <a:gd name="connsiteY3" fmla="*/ 12192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69900 w 469900"/>
                <a:gd name="connsiteY0" fmla="*/ 1193800 h 1270000"/>
                <a:gd name="connsiteX1" fmla="*/ 0 w 469900"/>
                <a:gd name="connsiteY1" fmla="*/ 0 h 1270000"/>
                <a:gd name="connsiteX2" fmla="*/ 12700 w 469900"/>
                <a:gd name="connsiteY2" fmla="*/ 1270000 h 1270000"/>
                <a:gd name="connsiteX3" fmla="*/ 469900 w 469900"/>
                <a:gd name="connsiteY3" fmla="*/ 1193800 h 1270000"/>
                <a:gd name="connsiteX0" fmla="*/ 495300 w 495300"/>
                <a:gd name="connsiteY0" fmla="*/ 1193800 h 1270000"/>
                <a:gd name="connsiteX1" fmla="*/ 0 w 495300"/>
                <a:gd name="connsiteY1" fmla="*/ 0 h 1270000"/>
                <a:gd name="connsiteX2" fmla="*/ 12700 w 495300"/>
                <a:gd name="connsiteY2" fmla="*/ 1270000 h 1270000"/>
                <a:gd name="connsiteX3" fmla="*/ 495300 w 495300"/>
                <a:gd name="connsiteY3" fmla="*/ 1193800 h 1270000"/>
                <a:gd name="connsiteX0" fmla="*/ 520700 w 520700"/>
                <a:gd name="connsiteY0" fmla="*/ 1270000 h 1270000"/>
                <a:gd name="connsiteX1" fmla="*/ 0 w 520700"/>
                <a:gd name="connsiteY1" fmla="*/ 0 h 1270000"/>
                <a:gd name="connsiteX2" fmla="*/ 12700 w 520700"/>
                <a:gd name="connsiteY2" fmla="*/ 1270000 h 1270000"/>
                <a:gd name="connsiteX3" fmla="*/ 520700 w 520700"/>
                <a:gd name="connsiteY3" fmla="*/ 1270000 h 127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0700" h="1270000">
                  <a:moveTo>
                    <a:pt x="520700" y="1270000"/>
                  </a:moveTo>
                  <a:lnTo>
                    <a:pt x="0" y="0"/>
                  </a:lnTo>
                  <a:lnTo>
                    <a:pt x="12700" y="1270000"/>
                  </a:lnTo>
                  <a:lnTo>
                    <a:pt x="520700" y="1270000"/>
                  </a:lnTo>
                  <a:close/>
                </a:path>
              </a:pathLst>
            </a:custGeom>
            <a:solidFill>
              <a:srgbClr val="0099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Clr>
                  <a:srgbClr val="7D0900"/>
                </a:buClr>
              </a:pPr>
              <a:endParaRPr lang="en-ZA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651437" y="1088571"/>
            <a:ext cx="709774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6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PROGRAMME 2</a:t>
            </a:r>
          </a:p>
          <a:p>
            <a:pPr algn="ctr"/>
            <a:endParaRPr lang="en-ZA" sz="6600" dirty="0">
              <a:solidFill>
                <a:prstClr val="white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ZA" sz="5400" dirty="0" smtClean="0">
                <a:solidFill>
                  <a:prstClr val="white"/>
                </a:solidFill>
                <a:latin typeface="Arial Black" panose="020B0A04020102020204" pitchFamily="34" charset="0"/>
              </a:rPr>
              <a:t>INCARCERATION</a:t>
            </a:r>
            <a:endParaRPr lang="en-ZA" sz="5400" dirty="0">
              <a:solidFill>
                <a:prstClr val="white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6660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4567374"/>
              </p:ext>
            </p:extLst>
          </p:nvPr>
        </p:nvGraphicFramePr>
        <p:xfrm>
          <a:off x="215900" y="2042928"/>
          <a:ext cx="11671302" cy="427470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 rowSpan="4">
                  <a:txBody>
                    <a:bodyPr/>
                    <a:lstStyle/>
                    <a:p>
                      <a:pPr algn="l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thonjen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fo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fenders, parolees/probationers  an opportunity to participate in Restorative Justic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of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s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mmunity Correction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0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>
                        <a:tabLst>
                          <a:tab pos="53975" algn="l"/>
                        </a:tabLst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rowSpan="5"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B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 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760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55369" y="-4838700"/>
            <a:ext cx="13716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428375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956933"/>
              </p:ext>
            </p:extLst>
          </p:nvPr>
        </p:nvGraphicFramePr>
        <p:xfrm>
          <a:off x="215900" y="1854482"/>
          <a:ext cx="11671302" cy="4393917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89666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00768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626808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263901">
                <a:tc rowSpan="6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 II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 RD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fo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fenders, parolees/probationers  an opportunity to participate in Restorative Justic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of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s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mmunity Correction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1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1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201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t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lle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C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276533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di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94879642"/>
                  </a:ext>
                </a:extLst>
              </a:tr>
              <a:tr h="333071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emale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18639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Cor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25106">
                <a:tc vMerge="1">
                  <a:txBody>
                    <a:bodyPr/>
                    <a:lstStyle/>
                    <a:p>
                      <a:pPr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Max CC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31975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76131">
                <a:tc rowSpan="5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 A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2825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B</a:t>
                      </a:r>
                      <a:endParaRPr lang="en-US" sz="1200" b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89065"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95532"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4421"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45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7978201"/>
              </p:ext>
            </p:extLst>
          </p:nvPr>
        </p:nvGraphicFramePr>
        <p:xfrm>
          <a:off x="215900" y="2042928"/>
          <a:ext cx="11671302" cy="4281672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1299793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839116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DBE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ford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offenders, parolees/probationers  an opportunity to participate in Restorative Justice </a:t>
                      </a:r>
                      <a:r>
                        <a:rPr lang="en-US" sz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gramm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of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ntres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mmunity Corrections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Monitoring the Risk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Calibri" panose="020F0502020204030204" pitchFamily="34" charset="0"/>
                        </a:rPr>
                        <a:t> adjustment plan and lockdown regulations 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2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2142763"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WAT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ty Correc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 fontAlgn="t"/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</a:rPr>
              <a:t>Percentage increase of offenders, parolees and probationers participating in Restorative Justice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</a:rPr>
              <a:t>Programme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510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29200" y="-5029200"/>
            <a:ext cx="9906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80894" y="175351"/>
            <a:ext cx="10188575" cy="662849"/>
          </a:xfrm>
          <a:prstGeom prst="rect">
            <a:avLst/>
          </a:prstGeom>
        </p:spPr>
        <p:txBody>
          <a:bodyPr/>
          <a:lstStyle/>
          <a:p>
            <a:r>
              <a:rPr lang="en-ZA" sz="32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SUMMARY OF IMPROVEMENTS FOR Q2</a:t>
            </a:r>
            <a:endParaRPr lang="en-GB" sz="32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62965" y="1165951"/>
            <a:ext cx="11633200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800" b="1" dirty="0"/>
              <a:t>Escape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Intensify the implementation of the escape prevention pla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Ensure that sufficient personnel is deployed in Units that are high risk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Improve on security intelligence in the unit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Intensify searching operation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Intensify night duty visits by senior managers</a:t>
            </a:r>
          </a:p>
          <a:p>
            <a:pPr>
              <a:lnSpc>
                <a:spcPct val="150000"/>
              </a:lnSpc>
            </a:pPr>
            <a:endParaRPr lang="en-GB" sz="1800" dirty="0"/>
          </a:p>
          <a:p>
            <a:pPr>
              <a:lnSpc>
                <a:spcPct val="150000"/>
              </a:lnSpc>
            </a:pPr>
            <a:r>
              <a:rPr lang="en-GB" sz="1800" b="1" dirty="0"/>
              <a:t>Assault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strict lockdown measures are now in the process to be relaxed due to the level 1 lockdown measures and this will assist in involving more offenders in </a:t>
            </a:r>
            <a:r>
              <a:rPr lang="en-US" sz="1800" dirty="0" err="1"/>
              <a:t>programmes</a:t>
            </a:r>
            <a:r>
              <a:rPr lang="en-US" sz="1800" dirty="0"/>
              <a:t> and recreational activities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Offenders are also now receiving scheduled non contact visits from family members and friends 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80212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29199" y="-5029198"/>
            <a:ext cx="990601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71929" y="161202"/>
            <a:ext cx="10188575" cy="698499"/>
          </a:xfrm>
          <a:prstGeom prst="rect">
            <a:avLst/>
          </a:prstGeom>
        </p:spPr>
        <p:txBody>
          <a:bodyPr/>
          <a:lstStyle/>
          <a:p>
            <a:r>
              <a:rPr lang="en-ZA" sz="32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SUMMARY OF IMPROVEMENTS FOR Q2</a:t>
            </a:r>
            <a:endParaRPr lang="en-GB" sz="32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3658" y="1295400"/>
            <a:ext cx="11633200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800" b="1" dirty="0" smtClean="0"/>
              <a:t>Restorative Justic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 smtClean="0"/>
              <a:t>Uplifting the lockdown will allow centres to arrange VOD sessions.</a:t>
            </a:r>
          </a:p>
          <a:p>
            <a:pPr marL="0" indent="0">
              <a:lnSpc>
                <a:spcPct val="150000"/>
              </a:lnSpc>
              <a:buNone/>
            </a:pPr>
            <a:endParaRPr lang="en-GB" sz="1800" dirty="0"/>
          </a:p>
          <a:p>
            <a:pPr>
              <a:lnSpc>
                <a:spcPct val="150000"/>
              </a:lnSpc>
            </a:pPr>
            <a:r>
              <a:rPr lang="en-GB" sz="1800" b="1" dirty="0"/>
              <a:t>Rehabilitation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Operations resumed at full capacity however it is being impacted by the 50% of staff </a:t>
            </a:r>
            <a:r>
              <a:rPr lang="en-GB" sz="1800" dirty="0" err="1"/>
              <a:t>rostering</a:t>
            </a:r>
            <a:endParaRPr lang="en-GB" sz="18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External Service Providers are being phased in at 50% to enhance service delivery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Sufficient sessions to be allocated to Service Providers to make up for the lost delivery period.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/>
              <a:t>Chaplains and SMDC’s to intensify new Pastoral interview </a:t>
            </a:r>
            <a:r>
              <a:rPr lang="en-GB" sz="1800" dirty="0" smtClean="0"/>
              <a:t>session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 smtClean="0"/>
              <a:t>Uplifting </a:t>
            </a:r>
            <a:r>
              <a:rPr lang="en-GB" sz="1800" dirty="0"/>
              <a:t>the lockdown will </a:t>
            </a:r>
            <a:r>
              <a:rPr lang="en-GB" sz="1800" dirty="0" smtClean="0"/>
              <a:t>allow full operations at Textile Workshops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 smtClean="0"/>
              <a:t>Gradual phasing in of learners in line with the Department of Basic Education Guidelines.</a:t>
            </a:r>
          </a:p>
          <a:p>
            <a:pPr>
              <a:lnSpc>
                <a:spcPct val="150000"/>
              </a:lnSpc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917676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029199" y="-5029198"/>
            <a:ext cx="990601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71929" y="161202"/>
            <a:ext cx="10188575" cy="698499"/>
          </a:xfrm>
          <a:prstGeom prst="rect">
            <a:avLst/>
          </a:prstGeom>
        </p:spPr>
        <p:txBody>
          <a:bodyPr/>
          <a:lstStyle/>
          <a:p>
            <a:r>
              <a:rPr lang="en-ZA" sz="320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SUMMARY OF IMPROVEMENTS FOR Q2</a:t>
            </a:r>
            <a:endParaRPr lang="en-GB" sz="32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13658" y="1295400"/>
            <a:ext cx="1163320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800" b="1" dirty="0" smtClean="0"/>
              <a:t>Car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 smtClean="0"/>
              <a:t>All New HIV positive will be initiated on the new drug (TLD) that supresses the virus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GB" sz="1800" dirty="0" smtClean="0"/>
              <a:t>DOT Strategy at 9 months of treatment is initiated.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69459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5400"/>
            <a:ext cx="12192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58529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en-US" sz="4000" dirty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603500" y="423997"/>
            <a:ext cx="63381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THANK YOU</a:t>
            </a: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en-ZA" sz="2000" b="1" dirty="0">
              <a:solidFill>
                <a:srgbClr val="005300"/>
              </a:solidFill>
              <a:latin typeface="Calibri"/>
              <a:cs typeface="Arial Black"/>
            </a:endParaRPr>
          </a:p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ZA" sz="2000" b="1" dirty="0">
                <a:solidFill>
                  <a:srgbClr val="005300"/>
                </a:solidFill>
                <a:latin typeface="Calibri"/>
                <a:cs typeface="Arial Black"/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1165404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US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who escaped from Correctional Facilities </a:t>
            </a:r>
          </a:p>
          <a:p>
            <a:endParaRPr lang="en-ZA" sz="3200" kern="0" dirty="0" smtClean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8600" y="1528985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17319" y="3400383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4993088"/>
              </p:ext>
            </p:extLst>
          </p:nvPr>
        </p:nvGraphicFramePr>
        <p:xfrm>
          <a:off x="266700" y="1997407"/>
          <a:ext cx="11658600" cy="1371600"/>
        </p:xfrm>
        <a:graphic>
          <a:graphicData uri="http://schemas.openxmlformats.org/drawingml/2006/table">
            <a:tbl>
              <a:tblPr firstRow="1" bandRow="1"/>
              <a:tblGrid>
                <a:gridCol w="14097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1811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 </a:t>
                      </a:r>
                      <a:endParaRPr lang="en-ZA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/34 582 @ 0.020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</a:p>
                    <a:p>
                      <a:pPr marL="53975" indent="0"/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/34141@</a:t>
                      </a:r>
                    </a:p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21%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</a:p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/34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8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0.029%</a:t>
                      </a:r>
                    </a:p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</a:p>
                    <a:p>
                      <a:pPr algn="l"/>
                      <a:endParaRPr lang="en-US" sz="14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/34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8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@0.029%</a:t>
                      </a:r>
                    </a:p>
                    <a:p>
                      <a:pPr algn="ctr"/>
                      <a:endParaRPr lang="en-US" sz="14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720138"/>
              </p:ext>
            </p:extLst>
          </p:nvPr>
        </p:nvGraphicFramePr>
        <p:xfrm>
          <a:off x="228600" y="3879508"/>
          <a:ext cx="11658600" cy="2407920"/>
        </p:xfrm>
        <a:graphic>
          <a:graphicData uri="http://schemas.openxmlformats.org/drawingml/2006/table">
            <a:tbl>
              <a:tblPr firstRow="1" bandRow="1"/>
              <a:tblGrid>
                <a:gridCol w="14478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1430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ZA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1672 @ 0.179%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1652 @ </a:t>
                      </a:r>
                    </a:p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 1644 @</a:t>
                      </a:r>
                    </a:p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2%</a:t>
                      </a:r>
                    </a:p>
                    <a:p>
                      <a:pPr marL="120650" indent="0" algn="l" fontAlgn="ctr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 1644 @0.182%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9403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0%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16@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0%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97@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0%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9597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0%</a:t>
                      </a:r>
                    </a:p>
                    <a:p>
                      <a:pPr algn="l"/>
                      <a:endParaRPr lang="en-US" sz="14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98@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/3631@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55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34@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5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34@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57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0066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0162613"/>
              </p:ext>
            </p:extLst>
          </p:nvPr>
        </p:nvGraphicFramePr>
        <p:xfrm>
          <a:off x="215900" y="2042928"/>
          <a:ext cx="11518899" cy="2374773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835 @ 0.359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VIAANSPOORT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CC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53975" marR="0" indent="0" algn="l" defTabSz="91433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 compliance with Departmental policies and procedures. </a:t>
                      </a:r>
                    </a:p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n adherence to departmental regula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Risk of conducting criminal activity outside the prison </a:t>
                      </a:r>
                    </a:p>
                    <a:p>
                      <a:pPr marL="0" marR="0" lvl="0" indent="0" algn="l" defTabSz="914331" rtl="0" eaLnBrk="1" fontAlgn="base" latinLnBrk="0" hangingPunct="1">
                        <a:lnSpc>
                          <a:spcPct val="90000"/>
                        </a:lnSpc>
                        <a:spcBef>
                          <a:spcPct val="90000"/>
                        </a:spcBef>
                        <a:spcAft>
                          <a:spcPct val="0"/>
                        </a:spcAft>
                        <a:buClr>
                          <a:srgbClr val="7D09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Undermine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"/>
                          <a:cs typeface=""/>
                        </a:rPr>
                        <a:t> the Departmental policy and directives as well as the escape prevention strategy </a:t>
                      </a: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"/>
                        <a:cs typeface="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3151 @ 0.127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II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 R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Facility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16%</a:t>
                      </a:r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702@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27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EU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US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who escaped from Correctional Facilities </a:t>
            </a:r>
            <a:endParaRPr lang="en-ZA" sz="3200" kern="0" dirty="0" smtClean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9572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673596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4. PROJECT PLAN TO ADDRESS UNDER PERFORMANCE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043972"/>
              </p:ext>
            </p:extLst>
          </p:nvPr>
        </p:nvGraphicFramePr>
        <p:xfrm>
          <a:off x="215900" y="2042928"/>
          <a:ext cx="11671302" cy="3901440"/>
        </p:xfrm>
        <a:graphic>
          <a:graphicData uri="http://schemas.openxmlformats.org/drawingml/2006/table">
            <a:tbl>
              <a:tblPr firstRow="1" bandRow="1"/>
              <a:tblGrid>
                <a:gridCol w="194521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94521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CTIVITY / ACTIVIT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SPONSIBILITY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IME FRAME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ROGRES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26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SPOORT</a:t>
                      </a:r>
                      <a:endParaRPr lang="en-ZA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CC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GB" sz="1200" dirty="0" smtClean="0"/>
                        <a:t>Intensify the implementation of the escape prevention plan</a:t>
                      </a:r>
                    </a:p>
                    <a:p>
                      <a:endParaRPr lang="en-GB" sz="1200" dirty="0" smtClean="0"/>
                    </a:p>
                    <a:p>
                      <a:r>
                        <a:rPr lang="en-GB" sz="1200" dirty="0" smtClean="0"/>
                        <a:t>Ensure that sufficient personnel is deployed in Units that are high risk</a:t>
                      </a:r>
                    </a:p>
                    <a:p>
                      <a:endParaRPr lang="en-GB" sz="1200" dirty="0" smtClean="0"/>
                    </a:p>
                    <a:p>
                      <a:r>
                        <a:rPr lang="en-GB" sz="1200" dirty="0" smtClean="0"/>
                        <a:t>Improve on security intelligence in the units.</a:t>
                      </a:r>
                    </a:p>
                    <a:p>
                      <a:r>
                        <a:rPr lang="en-GB" sz="1200" dirty="0" smtClean="0"/>
                        <a:t>Intensify searching operations.</a:t>
                      </a:r>
                    </a:p>
                    <a:p>
                      <a:endParaRPr lang="en-GB" sz="1200" dirty="0" smtClean="0"/>
                    </a:p>
                    <a:p>
                      <a:r>
                        <a:rPr lang="en-GB" sz="1200" dirty="0" smtClean="0"/>
                        <a:t>Intensify night duty visits by senior managers</a:t>
                      </a:r>
                    </a:p>
                    <a:p>
                      <a:pPr algn="l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mmissioner</a:t>
                      </a:r>
                    </a:p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Coordinato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orrection</a:t>
                      </a:r>
                    </a:p>
                    <a:p>
                      <a:pPr algn="ctr"/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d Correctional Centre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inuously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Region conducted an urgent security meeting </a:t>
                      </a:r>
                      <a:b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 order to address the areas of non compliance at all Correctional </a:t>
                      </a:r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es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nd are also in a process to develop an action plan to upgrade some of the infra structure areas identified as weak spots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 escape prevention plan has been implemented and is continuously being monitored.</a:t>
                      </a: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0" marR="0" indent="0" algn="l" defTabSz="9143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JHB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cal RD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Facility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42140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lang="en-US" sz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rgbClr val="FFFFFF"/>
                </a:solidFill>
                <a:latin typeface="Arial Black" panose="020B0A04020102020204" pitchFamily="34" charset="0"/>
              </a:rPr>
              <a:t>PLAN TO ADDRESS UNDER PERFORMANCE:</a:t>
            </a:r>
          </a:p>
          <a:p>
            <a:pPr>
              <a:spcAft>
                <a:spcPts val="600"/>
              </a:spcAft>
            </a:pPr>
            <a:r>
              <a:rPr lang="en-US" sz="2400" kern="0" dirty="0">
                <a:solidFill>
                  <a:srgbClr val="FFFFFF"/>
                </a:solidFill>
                <a:latin typeface="Arial Black" panose="020B0A04020102020204" pitchFamily="34" charset="0"/>
              </a:rPr>
              <a:t>Percentage of inmates who escaped from Correctional Facilities </a:t>
            </a:r>
            <a:endParaRPr lang="en-ZA" sz="3200" kern="0" dirty="0" smtClean="0">
              <a:solidFill>
                <a:srgbClr val="FFFFFF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rgbClr val="FFFFFF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7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5117634" y="-5100966"/>
            <a:ext cx="1440000" cy="11641931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3103" y="0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US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28600" y="1528985"/>
            <a:ext cx="8928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1. REGIONAL TARGET VERSUS PERFORMANCE FOR </a:t>
            </a:r>
            <a:r>
              <a:rPr lang="en-GB" sz="1800" b="1" kern="0" dirty="0" smtClean="0">
                <a:solidFill>
                  <a:prstClr val="black"/>
                </a:solidFill>
              </a:rPr>
              <a:t>2</a:t>
            </a:r>
            <a:r>
              <a:rPr lang="en-GB" sz="1800" b="1" kern="0" baseline="30000" dirty="0" smtClean="0">
                <a:solidFill>
                  <a:prstClr val="black"/>
                </a:solidFill>
              </a:rPr>
              <a:t>nd</a:t>
            </a:r>
            <a:r>
              <a:rPr lang="en-GB" sz="1800" b="1" kern="0" dirty="0" smtClean="0">
                <a:solidFill>
                  <a:prstClr val="black"/>
                </a:solidFill>
              </a:rPr>
              <a:t> QUARTER </a:t>
            </a:r>
            <a:r>
              <a:rPr lang="en-GB" sz="1800" b="1" kern="0" dirty="0">
                <a:solidFill>
                  <a:prstClr val="black"/>
                </a:solidFill>
              </a:rPr>
              <a:t>(2020/2021) 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117319" y="3400383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2. 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MANAGEMENT AREA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619424"/>
              </p:ext>
            </p:extLst>
          </p:nvPr>
        </p:nvGraphicFramePr>
        <p:xfrm>
          <a:off x="266700" y="1997407"/>
          <a:ext cx="11658600" cy="1371600"/>
        </p:xfrm>
        <a:graphic>
          <a:graphicData uri="http://schemas.openxmlformats.org/drawingml/2006/table">
            <a:tbl>
              <a:tblPr firstRow="1" bandRow="1"/>
              <a:tblGrid>
                <a:gridCol w="14097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1811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REGION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JULY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</a:t>
                      </a:r>
                      <a:r>
                        <a:rPr lang="en-ZA" sz="11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2020</a:t>
                      </a:r>
                      <a:br>
                        <a:rPr lang="en-ZA" sz="11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AUGUST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2020 TARGET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SEPTEMBER 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Q2 TARGET: 2020-2021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dirty="0" smtClean="0">
                          <a:solidFill>
                            <a:schemeClr val="bg1"/>
                          </a:solidFill>
                        </a:rPr>
                        <a:t>PERFORMANCE</a:t>
                      </a:r>
                      <a:endParaRPr lang="en-ZA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191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AUTENG </a:t>
                      </a:r>
                      <a:endParaRPr lang="en-ZA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79/34582</a:t>
                      </a:r>
                      <a:r>
                        <a:rPr lang="en-US" sz="1400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7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  <a:p>
                      <a:pPr marL="53975" indent="0"/>
                      <a:endParaRPr lang="en-US" sz="1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7/34141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9/34108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6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9/34108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6%</a:t>
                      </a:r>
                    </a:p>
                    <a:p>
                      <a:pPr algn="ctr"/>
                      <a:endParaRPr lang="en-US" sz="14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80772"/>
              </p:ext>
            </p:extLst>
          </p:nvPr>
        </p:nvGraphicFramePr>
        <p:xfrm>
          <a:off x="228600" y="3822841"/>
          <a:ext cx="11658600" cy="2593199"/>
        </p:xfrm>
        <a:graphic>
          <a:graphicData uri="http://schemas.openxmlformats.org/drawingml/2006/table">
            <a:tbl>
              <a:tblPr firstRow="1" bandRow="1"/>
              <a:tblGrid>
                <a:gridCol w="1447800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143000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2723634297"/>
                    </a:ext>
                  </a:extLst>
                </a:gridCol>
                <a:gridCol w="1295400">
                  <a:extLst>
                    <a:ext uri="{9D8B030D-6E8A-4147-A177-3AD203B41FA5}">
                      <a16:colId xmlns="" xmlns:a16="http://schemas.microsoft.com/office/drawing/2014/main" val="971921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JULY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2020</a:t>
                      </a:r>
                      <a:b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UGUST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2020 TARGET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SEPTEMBER 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: 2020-2021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Arial"/>
                        </a:defRPr>
                      </a:lvl9pPr>
                    </a:lstStyle>
                    <a:p>
                      <a:r>
                        <a:rPr lang="en-ZA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494372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BURG</a:t>
                      </a:r>
                      <a:endParaRPr lang="en-ZA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5/3317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56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/3248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@</a:t>
                      </a:r>
                    </a:p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80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/3235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@</a:t>
                      </a:r>
                    </a:p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7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/3235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@</a:t>
                      </a:r>
                    </a:p>
                    <a:p>
                      <a:pPr marL="120650" indent="0"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97%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/2633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9/2600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04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/2733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/2733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611999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WKOP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7/3698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5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/3631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4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1/3534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2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1/3534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2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endParaRPr lang="en-US" sz="14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3/4409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88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3/4299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0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9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31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1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9/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31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</a:t>
                      </a:r>
                    </a:p>
                    <a:p>
                      <a:pPr algn="l"/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1%</a:t>
                      </a: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859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Top Corners Rounded 60">
            <a:extLst>
              <a:ext uri="{FF2B5EF4-FFF2-40B4-BE49-F238E27FC236}">
                <a16:creationId xmlns="" xmlns:a16="http://schemas.microsoft.com/office/drawing/2014/main" id="{935013CF-ED1D-4C99-9BBC-342742B95A80}"/>
              </a:ext>
            </a:extLst>
          </p:cNvPr>
          <p:cNvSpPr/>
          <p:nvPr/>
        </p:nvSpPr>
        <p:spPr>
          <a:xfrm rot="5400000">
            <a:off x="4821169" y="-4804500"/>
            <a:ext cx="1440000" cy="11049000"/>
          </a:xfrm>
          <a:prstGeom prst="round2SameRect">
            <a:avLst>
              <a:gd name="adj1" fmla="val 23278"/>
              <a:gd name="adj2" fmla="val 0"/>
            </a:avLst>
          </a:prstGeom>
          <a:gradFill flip="none" rotWithShape="1">
            <a:gsLst>
              <a:gs pos="100000">
                <a:srgbClr val="00CC99">
                  <a:alpha val="67000"/>
                  <a:lumMod val="92000"/>
                </a:srgbClr>
              </a:gs>
              <a:gs pos="30000">
                <a:srgbClr val="006600">
                  <a:alpha val="75000"/>
                </a:srgbClr>
              </a:gs>
              <a:gs pos="59000">
                <a:srgbClr val="009900">
                  <a:alpha val="71000"/>
                </a:srgbClr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800" kern="0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-228600" y="1500598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b="1" kern="0" dirty="0">
                <a:solidFill>
                  <a:prstClr val="black"/>
                </a:solidFill>
              </a:rPr>
              <a:t>     </a:t>
            </a:r>
            <a:r>
              <a:rPr lang="en-GB" sz="1800" b="1" kern="0" dirty="0" smtClean="0">
                <a:solidFill>
                  <a:prstClr val="black"/>
                </a:solidFill>
              </a:rPr>
              <a:t>3. </a:t>
            </a:r>
            <a:r>
              <a:rPr lang="en-GB" sz="1800" b="1" kern="0" dirty="0">
                <a:solidFill>
                  <a:prstClr val="black"/>
                </a:solidFill>
              </a:rPr>
              <a:t>SOURCE OF </a:t>
            </a:r>
            <a:r>
              <a:rPr lang="en-GB" sz="1800" b="1" kern="0" dirty="0" smtClean="0">
                <a:solidFill>
                  <a:prstClr val="black"/>
                </a:solidFill>
              </a:rPr>
              <a:t>UNDER-ACHIEVEMENT AT CORRECTIONAL CENTRE LEVEL</a:t>
            </a:r>
            <a:endParaRPr lang="en-ZA" sz="1800" b="1" kern="0" dirty="0">
              <a:solidFill>
                <a:prstClr val="black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0516996"/>
              </p:ext>
            </p:extLst>
          </p:nvPr>
        </p:nvGraphicFramePr>
        <p:xfrm>
          <a:off x="215900" y="1930528"/>
          <a:ext cx="11518899" cy="4733925"/>
        </p:xfrm>
        <a:graphic>
          <a:graphicData uri="http://schemas.openxmlformats.org/drawingml/2006/table">
            <a:tbl>
              <a:tblPr firstRow="1" bandRow="1"/>
              <a:tblGrid>
                <a:gridCol w="1645557">
                  <a:extLst>
                    <a:ext uri="{9D8B030D-6E8A-4147-A177-3AD203B41FA5}">
                      <a16:colId xmlns="" xmlns:a16="http://schemas.microsoft.com/office/drawing/2014/main" val="3171785473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307568538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3177246977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905890460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551651354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106908959"/>
                    </a:ext>
                  </a:extLst>
                </a:gridCol>
                <a:gridCol w="1645557">
                  <a:extLst>
                    <a:ext uri="{9D8B030D-6E8A-4147-A177-3AD203B41FA5}">
                      <a16:colId xmlns="" xmlns:a16="http://schemas.microsoft.com/office/drawing/2014/main" val="2307743238"/>
                    </a:ext>
                  </a:extLst>
                </a:gridCol>
              </a:tblGrid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2 TARGET 2020/21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16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33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495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66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582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2990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156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321" algn="l" defTabSz="914331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QUARTER 2</a:t>
                      </a:r>
                      <a:b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</a:b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MANAGEMENT AREAS THAT CONTRIBUTED TOWARDS UNDER-ACHIEVEMENT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CORRECTIONAL CENT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EASONS FOR UNDER</a:t>
                      </a:r>
                    </a:p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PERFORMANCE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ROOT CAUSES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3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/>
                          <a:ea typeface=""/>
                          <a:cs typeface="Arial"/>
                        </a:rPr>
                        <a:t>ASSOCIATED RISKS </a:t>
                      </a:r>
                      <a:endParaRPr lang="en-ZA" sz="1100" b="1" kern="1200" dirty="0">
                        <a:solidFill>
                          <a:schemeClr val="bg1"/>
                        </a:solidFill>
                        <a:latin typeface="Arial"/>
                        <a:ea typeface=""/>
                        <a:cs typeface="Arial"/>
                      </a:endParaRPr>
                    </a:p>
                  </a:txBody>
                  <a:tcPr marL="91438" marR="91438" marT="45724" marB="45724">
                    <a:lnL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7B1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864745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2/2415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0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KSBURG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/>
                    <a:p>
                      <a:pPr marL="53975" marR="0" indent="0" algn="l" defTabSz="91433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leness due to lockdown contributed to the  increase of assault as offenders are fighting for personal space and an unauthorized items such as contrabands</a:t>
                      </a:r>
                    </a:p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on compliance to COVID-19 regulations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9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ustrations due to idleness </a:t>
                      </a:r>
                    </a:p>
                    <a:p>
                      <a:pPr algn="l"/>
                      <a:endParaRPr lang="en-US" sz="1200" b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endParaRPr lang="en-US" sz="12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change of unauthorized contrabands which leads to fights amongst inmates</a:t>
                      </a:r>
                    </a:p>
                    <a:p>
                      <a:pPr algn="l"/>
                      <a:endParaRPr lang="en-US" sz="1200" b="0" i="0" u="none" strike="noStrike" kern="1200" baseline="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ack of searching at Production Workshop</a:t>
                      </a:r>
                    </a:p>
                    <a:p>
                      <a:pPr algn="l"/>
                      <a:endParaRPr lang="en-US" sz="12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/>
                      <a:r>
                        <a:rPr lang="en-US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uggling of contrabands by visitors</a:t>
                      </a:r>
                      <a:r>
                        <a:rPr lang="en-US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96501867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/408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49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idelberg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/2733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40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ugersdorp Centr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50242310"/>
                  </a:ext>
                </a:extLst>
              </a:tr>
              <a:tr h="375654"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/702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42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euwkop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A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>
                      <a:lvl1pPr marL="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1pPr>
                      <a:lvl2pPr marL="45716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2pPr>
                      <a:lvl3pPr marL="91433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3pPr>
                      <a:lvl4pPr marL="1371495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4pPr>
                      <a:lvl5pPr marL="182866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5pPr>
                      <a:lvl6pPr marL="228582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6pPr>
                      <a:lvl7pPr marL="2742990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7pPr>
                      <a:lvl8pPr marL="3200156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8pPr>
                      <a:lvl9pPr marL="3657321" algn="l" defTabSz="914331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 Light"/>
                          <a:ea typeface=""/>
                          <a:cs typeface=""/>
                        </a:defRPr>
                      </a:lvl9pPr>
                    </a:lstStyle>
                    <a:p>
                      <a:pPr algn="l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18693148"/>
                  </a:ext>
                </a:extLst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/675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37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um B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1/1098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2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ximum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/3914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427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200" b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odderbee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Centre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  <a:endParaRPr lang="en-US" sz="14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47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28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on 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  <a:tr h="375654">
                <a:tc>
                  <a:txBody>
                    <a:bodyPr/>
                    <a:lstStyle/>
                    <a:p>
                      <a:pPr marL="53975" indent="0"/>
                      <a:r>
                        <a:rPr lang="en-US" sz="14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33%</a:t>
                      </a: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/270</a:t>
                      </a:r>
                      <a:r>
                        <a:rPr lang="en-US" sz="1200" b="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@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519%</a:t>
                      </a:r>
                    </a:p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igel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53975" indent="0" algn="l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191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29369" y="56775"/>
            <a:ext cx="10956131" cy="52336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16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33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49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66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ZA" sz="3200" kern="0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PERFORMANCE INDICATOR NOT ACHIEVED:</a:t>
            </a:r>
          </a:p>
          <a:p>
            <a:pPr>
              <a:spcAft>
                <a:spcPts val="600"/>
              </a:spcAft>
            </a:pPr>
            <a:r>
              <a:rPr lang="en-US" sz="2400" kern="0" dirty="0">
                <a:solidFill>
                  <a:schemeClr val="bg1"/>
                </a:solidFill>
                <a:latin typeface="Arial Black" panose="020B0A04020102020204" pitchFamily="34" charset="0"/>
              </a:rPr>
              <a:t>Percentage of inmates injured as a result of reported assaults in Correctional Facilities </a:t>
            </a:r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endParaRPr lang="en-GB" sz="3200" kern="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02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Custom 9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AFABAB"/>
      </a:accent1>
      <a:accent2>
        <a:srgbClr val="E2583D"/>
      </a:accent2>
      <a:accent3>
        <a:srgbClr val="78D2D2"/>
      </a:accent3>
      <a:accent4>
        <a:srgbClr val="3B3939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179</TotalTime>
  <Words>5033</Words>
  <Application>Microsoft Office PowerPoint</Application>
  <PresentationFormat>Widescreen</PresentationFormat>
  <Paragraphs>1501</Paragraphs>
  <Slides>4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46</vt:i4>
      </vt:variant>
    </vt:vector>
  </HeadingPairs>
  <TitlesOfParts>
    <vt:vector size="57" baseType="lpstr">
      <vt:lpstr>Arial Unicode MS</vt:lpstr>
      <vt:lpstr>Arial</vt:lpstr>
      <vt:lpstr>Arial Black</vt:lpstr>
      <vt:lpstr>Calibri</vt:lpstr>
      <vt:lpstr>Calibri Light</vt:lpstr>
      <vt:lpstr>Century Gothic</vt:lpstr>
      <vt:lpstr>Consolas</vt:lpstr>
      <vt:lpstr>Verdana</vt:lpstr>
      <vt:lpstr>Wingdings</vt:lpstr>
      <vt:lpstr>3_Blank</vt:lpstr>
      <vt:lpstr>Office Theme</vt:lpstr>
      <vt:lpstr>PowerPoint Presentation</vt:lpstr>
      <vt:lpstr>PowerPoint Presentation</vt:lpstr>
      <vt:lpstr>Notes to the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UMMARY OF IMPROVEMENTS FOR Q2</vt:lpstr>
      <vt:lpstr>SUMMARY OF IMPROVEMENTS FOR Q2</vt:lpstr>
      <vt:lpstr>SUMMARY OF IMPROVEMENTS FOR Q2</vt:lpstr>
      <vt:lpstr>PowerPoint Presentation</vt:lpstr>
    </vt:vector>
  </TitlesOfParts>
  <Company>Ac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high level vision will be developed which will determine the required operating model…  Scope will include all core elements of DCS</dc:title>
  <dc:creator>Rowan Smyth</dc:creator>
  <cp:lastModifiedBy>Matagane Makobe</cp:lastModifiedBy>
  <cp:revision>4159</cp:revision>
  <cp:lastPrinted>2019-10-31T17:02:31Z</cp:lastPrinted>
  <dcterms:created xsi:type="dcterms:W3CDTF">2011-05-16T12:44:01Z</dcterms:created>
  <dcterms:modified xsi:type="dcterms:W3CDTF">2020-11-19T15:00:56Z</dcterms:modified>
</cp:coreProperties>
</file>